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0"/>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AED50887-01FF-4999-9D3F-269DEDB0B82D}">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Lst>
        </p14:section>
        <p14:section name="Brackets By Sector" id="{F07C42A2-19F3-45F1-A5FB-6B4518935E3E}">
          <p14:sldIdLst>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Lst>
        </p14:section>
        <p14:section name="Brackets By Segment" id="{228094A0-C96B-447E-9475-3D3D13BEE564}">
          <p14:sldIdLst>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103" d="100"/>
          <a:sy n="103" d="100"/>
        </p:scale>
        <p:origin x="782" y="7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notesMaster" Target="notesMasters/notesMaster1.xml"/><Relationship Id="rId51" Type="http://schemas.openxmlformats.org/officeDocument/2006/relationships/presProps" Target="presProps.xml"/><Relationship Id="rId52" Type="http://schemas.openxmlformats.org/officeDocument/2006/relationships/viewProps" Target="viewProps.xml"/><Relationship Id="rId53" Type="http://schemas.openxmlformats.org/officeDocument/2006/relationships/theme" Target="theme/theme1.xml"/><Relationship Id="rId54" Type="http://schemas.openxmlformats.org/officeDocument/2006/relationships/tableStyles" Target="tableStyles.xml"/><Relationship Id="rId55" Type="http://schemas.microsoft.com/office/2015/10/relationships/revisionInfo" Target="revisionInfo.xml"/><Relationship Id="rId56"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36</c:v>
                </c:pt>
                <c:pt idx="4">
                  <c:v>0.18575803512433944</c:v>
                </c:pt>
                <c:pt idx="5">
                  <c:v>0.02352800400703838</c:v>
                </c:pt>
                <c:pt idx="6">
                  <c:v>0.110079271481584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9156522563560794</c:v>
                </c:pt>
                <c:pt idx="4">
                  <c:v>0.04173916199661438</c:v>
                </c:pt>
                <c:pt idx="5">
                  <c:v>0.001182156503618183</c:v>
                </c:pt>
                <c:pt idx="6">
                  <c:v>0.01837095123680547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407711693623543</c:v>
                </c:pt>
                <c:pt idx="2">
                  <c:v>0.0008493697688871372</c:v>
                </c:pt>
                <c:pt idx="3">
                  <c:v>0.17522840497178355</c:v>
                </c:pt>
                <c:pt idx="4">
                  <c:v>0.11866978005458789</c:v>
                </c:pt>
                <c:pt idx="5">
                  <c:v>0.16003965190514902</c:v>
                </c:pt>
                <c:pt idx="6">
                  <c:v>0.533805081605968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2</c:v>
                </c:pt>
                <c:pt idx="1">
                  <c:v>0.06983355347252945</c:v>
                </c:pt>
                <c:pt idx="2">
                  <c:v>0.016376470044223303</c:v>
                </c:pt>
                <c:pt idx="3">
                  <c:v>0.31902660341686145</c:v>
                </c:pt>
                <c:pt idx="4">
                  <c:v>0.3389449232189925</c:v>
                </c:pt>
                <c:pt idx="5">
                  <c:v>0.03479636360013413</c:v>
                </c:pt>
                <c:pt idx="6">
                  <c:v>0.161366343032767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6598935437421412</c:v>
                </c:pt>
                <c:pt idx="5">
                  <c:v>0.000924981627180410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798</c:v>
                </c:pt>
                <c:pt idx="1">
                  <c:v>0.21727502818623307</c:v>
                </c:pt>
                <c:pt idx="2">
                  <c:v>0.04545537627416124</c:v>
                </c:pt>
                <c:pt idx="3">
                  <c:v>0.23071033091784018</c:v>
                </c:pt>
                <c:pt idx="4">
                  <c:v>0.18360819686882338</c:v>
                </c:pt>
                <c:pt idx="5">
                  <c:v>0.02243806510617429</c:v>
                </c:pt>
                <c:pt idx="6">
                  <c:v>0.101910158591319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291922676740965</c:v>
                </c:pt>
                <c:pt idx="4">
                  <c:v>0.03997271682547283</c:v>
                </c:pt>
                <c:pt idx="5">
                  <c:v>0.0013302100294657144</c:v>
                </c:pt>
                <c:pt idx="6">
                  <c:v>0.0145989915180397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48</c:v>
                </c:pt>
                <c:pt idx="1">
                  <c:v>0.20313119777623</c:v>
                </c:pt>
                <c:pt idx="2">
                  <c:v>0.039642177084380455</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025713460481185</c:v>
                </c:pt>
                <c:pt idx="4">
                  <c:v>0.03760946151966599</c:v>
                </c:pt>
                <c:pt idx="5">
                  <c:v>0.0008985903243941322</c:v>
                </c:pt>
                <c:pt idx="6">
                  <c:v>0.01585971165522187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c:v>
                </c:pt>
                <c:pt idx="1">
                  <c:v>0.27146093098752233</c:v>
                </c:pt>
                <c:pt idx="2">
                  <c:v>0.06689162484511396</c:v>
                </c:pt>
                <c:pt idx="3">
                  <c:v>0.217436817453512</c:v>
                </c:pt>
                <c:pt idx="4">
                  <c:v>0.03107895822899907</c:v>
                </c:pt>
                <c:pt idx="5">
                  <c:v>0.013155685106098637</c:v>
                </c:pt>
                <c:pt idx="6">
                  <c:v>0.036789010997512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025307305089959</c:v>
                </c:pt>
                <c:pt idx="4">
                  <c:v>0.010993292593136462</c:v>
                </c:pt>
                <c:pt idx="5">
                  <c:v>0.0015623254380348816</c:v>
                </c:pt>
                <c:pt idx="6">
                  <c:v>0.002644984411895766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59866233758669</c:v>
                </c:pt>
                <c:pt idx="2">
                  <c:v>0.0008635871429484475</c:v>
                </c:pt>
                <c:pt idx="3">
                  <c:v>0.17816150651472493</c:v>
                </c:pt>
                <c:pt idx="4">
                  <c:v>0.12065616185743926</c:v>
                </c:pt>
                <c:pt idx="5">
                  <c:v>0.1620275953714027</c:v>
                </c:pt>
                <c:pt idx="6">
                  <c:v>0.52669248677589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5593408363733361</c:v>
                </c:pt>
                <c:pt idx="4">
                  <c:v>0.00993304746042903</c:v>
                </c:pt>
                <c:pt idx="5">
                  <c:v>0.013736245980386048</c:v>
                </c:pt>
                <c:pt idx="6">
                  <c:v>0.00995846116319435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5</c:v>
                </c:pt>
                <c:pt idx="1">
                  <c:v>0.07078537756227361</c:v>
                </c:pt>
                <c:pt idx="2">
                  <c:v>0.015553589937334276</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57667783549627004</c:v>
                </c:pt>
                <c:pt idx="4">
                  <c:v>0.06507986221690501</c:v>
                </c:pt>
                <c:pt idx="5">
                  <c:v>0.0017848557843856722</c:v>
                </c:pt>
                <c:pt idx="6">
                  <c:v>0.0327526852088932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798</c:v>
                </c:pt>
                <c:pt idx="1">
                  <c:v>0.21727502818623307</c:v>
                </c:pt>
                <c:pt idx="2">
                  <c:v>0.04545537627416124</c:v>
                </c:pt>
                <c:pt idx="3">
                  <c:v>0.23071033091784018</c:v>
                </c:pt>
                <c:pt idx="4">
                  <c:v>0.18360819686882338</c:v>
                </c:pt>
                <c:pt idx="5">
                  <c:v>0.02243806510617429</c:v>
                </c:pt>
                <c:pt idx="6">
                  <c:v>0.101910158591319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9505463662323612</c:v>
                </c:pt>
                <c:pt idx="4">
                  <c:v>0.0386372633049537</c:v>
                </c:pt>
                <c:pt idx="5">
                  <c:v>0.00319468351837024</c:v>
                </c:pt>
                <c:pt idx="6">
                  <c:v>0.00579395301396869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48</c:v>
                </c:pt>
                <c:pt idx="1">
                  <c:v>0.20313119777623</c:v>
                </c:pt>
                <c:pt idx="2">
                  <c:v>0.039642177084380455</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4</c:v>
                </c:pt>
                <c:pt idx="3">
                  <c:v>0.21189801082888213</c:v>
                </c:pt>
                <c:pt idx="4">
                  <c:v>0.0348912720561147</c:v>
                </c:pt>
                <c:pt idx="5">
                  <c:v>0.014775448871255988</c:v>
                </c:pt>
                <c:pt idx="6">
                  <c:v>0.0439110282318079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8639121225981975</c:v>
                </c:pt>
                <c:pt idx="4">
                  <c:v>0.032972590313037446</c:v>
                </c:pt>
                <c:pt idx="5">
                  <c:v>0.00306172923553757</c:v>
                </c:pt>
                <c:pt idx="6">
                  <c:v>0.00620126335975833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c:v>
                </c:pt>
                <c:pt idx="1">
                  <c:v>0.27146093098752233</c:v>
                </c:pt>
                <c:pt idx="2">
                  <c:v>0.06689162484511396</c:v>
                </c:pt>
                <c:pt idx="3">
                  <c:v>0.217436817453512</c:v>
                </c:pt>
                <c:pt idx="4">
                  <c:v>0.03107895822899907</c:v>
                </c:pt>
                <c:pt idx="5">
                  <c:v>0.013155685106098637</c:v>
                </c:pt>
                <c:pt idx="6">
                  <c:v>0.036789010997512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326183427670883</c:v>
                </c:pt>
                <c:pt idx="4">
                  <c:v>0.0016861596904735865</c:v>
                </c:pt>
                <c:pt idx="5">
                  <c:v>0.0007215315255223505</c:v>
                </c:pt>
                <c:pt idx="6">
                  <c:v>0.00593632316586468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9818773572826585</c:v>
                </c:pt>
                <c:pt idx="4">
                  <c:v>0.014622076329802522</c:v>
                </c:pt>
                <c:pt idx="5">
                  <c:v>0.0032390174171978304</c:v>
                </c:pt>
                <c:pt idx="6">
                  <c:v>0.002658524170850826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59866233758669</c:v>
                </c:pt>
                <c:pt idx="2">
                  <c:v>0.0008635871429484475</c:v>
                </c:pt>
                <c:pt idx="3">
                  <c:v>0.17816150651472493</c:v>
                </c:pt>
                <c:pt idx="4">
                  <c:v>0.12065616185743926</c:v>
                </c:pt>
                <c:pt idx="5">
                  <c:v>0.1620275953714027</c:v>
                </c:pt>
                <c:pt idx="6">
                  <c:v>0.52669248677589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340929570211598</c:v>
                </c:pt>
                <c:pt idx="4">
                  <c:v>0.01062631890933484</c:v>
                </c:pt>
                <c:pt idx="5">
                  <c:v>0.05777831256045728</c:v>
                </c:pt>
                <c:pt idx="6">
                  <c:v>0.00842182980415330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5</c:v>
                </c:pt>
                <c:pt idx="1">
                  <c:v>0.07078537756227361</c:v>
                </c:pt>
                <c:pt idx="2">
                  <c:v>0.015553589937334276</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4651973056325685</c:v>
                </c:pt>
                <c:pt idx="4">
                  <c:v>0.07117578190289715</c:v>
                </c:pt>
                <c:pt idx="5">
                  <c:v>0.008611645077015189</c:v>
                </c:pt>
                <c:pt idx="6">
                  <c:v>0.00654972448373505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193261037906299</c:v>
                </c:pt>
                <c:pt idx="4">
                  <c:v>0.043975784559535394</c:v>
                </c:pt>
                <c:pt idx="5">
                  <c:v>0.0020908153334124125</c:v>
                </c:pt>
                <c:pt idx="6">
                  <c:v>0.01661220049146949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19860284405544798</c:v>
                </c:pt>
                <c:pt idx="1">
                  <c:v>0.21727502818623307</c:v>
                </c:pt>
                <c:pt idx="2">
                  <c:v>0.04545537627416124</c:v>
                </c:pt>
                <c:pt idx="3">
                  <c:v>0.23071033091784018</c:v>
                </c:pt>
                <c:pt idx="4">
                  <c:v>0.18360819686882338</c:v>
                </c:pt>
                <c:pt idx="5">
                  <c:v>0.02243806510617429</c:v>
                </c:pt>
                <c:pt idx="6">
                  <c:v>0.101910158591319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6087383290716273</c:v>
                </c:pt>
                <c:pt idx="5">
                  <c:v>0.001709569977420109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527583686368248</c:v>
                </c:pt>
                <c:pt idx="1">
                  <c:v>0.20313119777623</c:v>
                </c:pt>
                <c:pt idx="2">
                  <c:v>0.039642177084380455</c:v>
                </c:pt>
                <c:pt idx="3">
                  <c:v>0.2756497951382701</c:v>
                </c:pt>
                <c:pt idx="4">
                  <c:v>0.15940057654149128</c:v>
                </c:pt>
                <c:pt idx="5">
                  <c:v>0.01917626062365533</c:v>
                </c:pt>
                <c:pt idx="6">
                  <c:v>0.0877241559722902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11835232992679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3186972381242</c:v>
                </c:pt>
                <c:pt idx="1">
                  <c:v>0.27146093098752233</c:v>
                </c:pt>
                <c:pt idx="2">
                  <c:v>0.06689162484511396</c:v>
                </c:pt>
                <c:pt idx="3">
                  <c:v>0.217436817453512</c:v>
                </c:pt>
                <c:pt idx="4">
                  <c:v>0.03107895822899907</c:v>
                </c:pt>
                <c:pt idx="5">
                  <c:v>0.013155685106098637</c:v>
                </c:pt>
                <c:pt idx="6">
                  <c:v>0.036789010997512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59866233758669</c:v>
                </c:pt>
                <c:pt idx="2">
                  <c:v>0.0008635871429484475</c:v>
                </c:pt>
                <c:pt idx="3">
                  <c:v>0.17816150651472493</c:v>
                </c:pt>
                <c:pt idx="4">
                  <c:v>0.12065616185743926</c:v>
                </c:pt>
                <c:pt idx="5">
                  <c:v>0.1620275953714027</c:v>
                </c:pt>
                <c:pt idx="6">
                  <c:v>0.52669248677589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0449333597245185</c:v>
                </c:pt>
                <c:pt idx="1">
                  <c:v>0.07078537756227361</c:v>
                </c:pt>
                <c:pt idx="2">
                  <c:v>0.015553589937334276</c:v>
                </c:pt>
                <c:pt idx="3">
                  <c:v>0.3265210348931184</c:v>
                </c:pt>
                <c:pt idx="4">
                  <c:v>0.3426346466745449</c:v>
                </c:pt>
                <c:pt idx="5">
                  <c:v>0.03339943521307153</c:v>
                </c:pt>
                <c:pt idx="6">
                  <c:v>0.150656582122412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692069353859459</c:v>
                </c:pt>
                <c:pt idx="5">
                  <c:v>0.000970082891589498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8635029126853426</c:v>
                </c:pt>
                <c:pt idx="1">
                  <c:v>0.03416672340283251</c:v>
                </c:pt>
                <c:pt idx="2">
                  <c:v>0.00272966456690357</c:v>
                </c:pt>
                <c:pt idx="3">
                  <c:v>0.4279190418121717</c:v>
                </c:pt>
                <c:pt idx="4">
                  <c:v>0.24118560212982318</c:v>
                </c:pt>
                <c:pt idx="5">
                  <c:v>0.02924373517641475</c:v>
                </c:pt>
                <c:pt idx="6">
                  <c:v>0.178404941643320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12187769289831998</c:v>
                </c:pt>
                <c:pt idx="4">
                  <c:v>0.12550493895390463</c:v>
                </c:pt>
                <c:pt idx="5">
                  <c:v>0.0012950770856719335</c:v>
                </c:pt>
                <c:pt idx="6">
                  <c:v>0.0492587874225490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044861310621091</c:v>
                </c:pt>
                <c:pt idx="1">
                  <c:v>0.032311526189170936</c:v>
                </c:pt>
                <c:pt idx="2">
                  <c:v>0.006869211005558524</c:v>
                </c:pt>
                <c:pt idx="3">
                  <c:v>0.46365745761636096</c:v>
                </c:pt>
                <c:pt idx="4">
                  <c:v>0.22138887704198426</c:v>
                </c:pt>
                <c:pt idx="5">
                  <c:v>0.01571487316116536</c:v>
                </c:pt>
                <c:pt idx="6">
                  <c:v>0.169609441879549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407711693623543</c:v>
                </c:pt>
                <c:pt idx="2">
                  <c:v>0.0008493697688871372</c:v>
                </c:pt>
                <c:pt idx="3">
                  <c:v>0.17522840497178355</c:v>
                </c:pt>
                <c:pt idx="4">
                  <c:v>0.11866978005458789</c:v>
                </c:pt>
                <c:pt idx="5">
                  <c:v>0.16003965190514902</c:v>
                </c:pt>
                <c:pt idx="6">
                  <c:v>0.533805081605968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1417879159605416</c:v>
                </c:pt>
                <c:pt idx="4">
                  <c:v>0.1132051880598899</c:v>
                </c:pt>
                <c:pt idx="5">
                  <c:v>0.0017548768805348445</c:v>
                </c:pt>
                <c:pt idx="6">
                  <c:v>0.0519676337016518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22911896255625</c:v>
                </c:pt>
                <c:pt idx="1">
                  <c:v>0.07626907480042845</c:v>
                </c:pt>
                <c:pt idx="2">
                  <c:v>0.007349549300869373</c:v>
                </c:pt>
                <c:pt idx="3">
                  <c:v>0.4724437321218864</c:v>
                </c:pt>
                <c:pt idx="4">
                  <c:v>0.0665313881103903</c:v>
                </c:pt>
                <c:pt idx="5">
                  <c:v>0.015152051012852654</c:v>
                </c:pt>
                <c:pt idx="6">
                  <c:v>0.13934230839794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1691516759506813</c:v>
                </c:pt>
                <c:pt idx="4">
                  <c:v>0.039276718444238815</c:v>
                </c:pt>
                <c:pt idx="5">
                  <c:v>0.005449991540524727</c:v>
                </c:pt>
                <c:pt idx="6">
                  <c:v>0.016307183628155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5501323182018693</c:v>
                </c:pt>
                <c:pt idx="4">
                  <c:v>0.009769518102139246</c:v>
                </c:pt>
                <c:pt idx="5">
                  <c:v>0.013510103953034239</c:v>
                </c:pt>
                <c:pt idx="6">
                  <c:v>0.023440149253016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4033548930492743</c:v>
                </c:pt>
                <c:pt idx="3">
                  <c:v>0.1675586836088393</c:v>
                </c:pt>
                <c:pt idx="4">
                  <c:v>0.08303099418800744</c:v>
                </c:pt>
                <c:pt idx="5">
                  <c:v>0.09460913930707035</c:v>
                </c:pt>
                <c:pt idx="6">
                  <c:v>0.65076763396559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6125083620765155</c:v>
                </c:pt>
                <c:pt idx="4">
                  <c:v>0.026685226283846612</c:v>
                </c:pt>
                <c:pt idx="5">
                  <c:v>0.010474630531315627</c:v>
                </c:pt>
                <c:pt idx="6">
                  <c:v>0.046512897629549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3905432487862183</c:v>
                </c:pt>
                <c:pt idx="1">
                  <c:v>0.012128541643948871</c:v>
                </c:pt>
                <c:pt idx="2">
                  <c:v>0.0023479955188701737</c:v>
                </c:pt>
                <c:pt idx="3">
                  <c:v>0.4243133457259381</c:v>
                </c:pt>
                <c:pt idx="4">
                  <c:v>0.3469752856084496</c:v>
                </c:pt>
                <c:pt idx="5">
                  <c:v>0.015892492452106218</c:v>
                </c:pt>
                <c:pt idx="6">
                  <c:v>0.184436906562824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1282283686652365</c:v>
                </c:pt>
                <c:pt idx="4">
                  <c:v>0.1478614347494501</c:v>
                </c:pt>
                <c:pt idx="5">
                  <c:v>0.004717298412556905</c:v>
                </c:pt>
                <c:pt idx="6">
                  <c:v>0.072284596735232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8635029126853426</c:v>
                </c:pt>
                <c:pt idx="1">
                  <c:v>0.03416672340283251</c:v>
                </c:pt>
                <c:pt idx="2">
                  <c:v>0.00272966456690357</c:v>
                </c:pt>
                <c:pt idx="3">
                  <c:v>0.4279190418121717</c:v>
                </c:pt>
                <c:pt idx="4">
                  <c:v>0.24118560212982318</c:v>
                </c:pt>
                <c:pt idx="5">
                  <c:v>0.02924373517641475</c:v>
                </c:pt>
                <c:pt idx="6">
                  <c:v>0.178404941643320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7490953145780126</c:v>
                </c:pt>
                <c:pt idx="4">
                  <c:v>0.026573563628055304</c:v>
                </c:pt>
                <c:pt idx="5">
                  <c:v>0.004279797571821323</c:v>
                </c:pt>
                <c:pt idx="6">
                  <c:v>0.01940994347139564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044861310621091</c:v>
                </c:pt>
                <c:pt idx="1">
                  <c:v>0.032311526189170936</c:v>
                </c:pt>
                <c:pt idx="2">
                  <c:v>0.006869211005558524</c:v>
                </c:pt>
                <c:pt idx="3">
                  <c:v>0.46365745761636096</c:v>
                </c:pt>
                <c:pt idx="4">
                  <c:v>0.22138887704198426</c:v>
                </c:pt>
                <c:pt idx="5">
                  <c:v>0.01571487316116536</c:v>
                </c:pt>
                <c:pt idx="6">
                  <c:v>0.169609441879549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8053666337335331</c:v>
                </c:pt>
                <c:pt idx="4">
                  <c:v>0.024541623224562964</c:v>
                </c:pt>
                <c:pt idx="5">
                  <c:v>0.0033812597291690578</c:v>
                </c:pt>
                <c:pt idx="6">
                  <c:v>0.02044811526594578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22911896255625</c:v>
                </c:pt>
                <c:pt idx="1">
                  <c:v>0.07626907480042845</c:v>
                </c:pt>
                <c:pt idx="2">
                  <c:v>0.007349549300869373</c:v>
                </c:pt>
                <c:pt idx="3">
                  <c:v>0.4724437321218864</c:v>
                </c:pt>
                <c:pt idx="4">
                  <c:v>0.0665313881103903</c:v>
                </c:pt>
                <c:pt idx="5">
                  <c:v>0.015152051012852654</c:v>
                </c:pt>
                <c:pt idx="6">
                  <c:v>0.13934230839794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979419372832664</c:v>
                </c:pt>
                <c:pt idx="4">
                  <c:v>0.0018036297047012094</c:v>
                </c:pt>
                <c:pt idx="6">
                  <c:v>0.02770065357863287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4033548930492743</c:v>
                </c:pt>
                <c:pt idx="3">
                  <c:v>0.1675586836088393</c:v>
                </c:pt>
                <c:pt idx="4">
                  <c:v>0.08303099418800744</c:v>
                </c:pt>
                <c:pt idx="5">
                  <c:v>0.09460913930707035</c:v>
                </c:pt>
                <c:pt idx="6">
                  <c:v>0.65076763396559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324329310219529</c:v>
                </c:pt>
                <c:pt idx="5">
                  <c:v>0.028177449319760215</c:v>
                </c:pt>
                <c:pt idx="6">
                  <c:v>0.0373955788606705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3905432487862183</c:v>
                </c:pt>
                <c:pt idx="1">
                  <c:v>0.012128541643948871</c:v>
                </c:pt>
                <c:pt idx="2">
                  <c:v>0.0023479955188701737</c:v>
                </c:pt>
                <c:pt idx="3">
                  <c:v>0.4243133457259381</c:v>
                </c:pt>
                <c:pt idx="4">
                  <c:v>0.3469752856084496</c:v>
                </c:pt>
                <c:pt idx="5">
                  <c:v>0.015892492452106218</c:v>
                </c:pt>
                <c:pt idx="6">
                  <c:v>0.184436906562824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7475762937316476</c:v>
                </c:pt>
                <c:pt idx="4">
                  <c:v>0.033152109946541546</c:v>
                </c:pt>
                <c:pt idx="5">
                  <c:v>0.005653939328885332</c:v>
                </c:pt>
                <c:pt idx="6">
                  <c:v>0.01646925404211208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8635029126853426</c:v>
                </c:pt>
                <c:pt idx="1">
                  <c:v>0.03416672340283251</c:v>
                </c:pt>
                <c:pt idx="2">
                  <c:v>0.00272966456690357</c:v>
                </c:pt>
                <c:pt idx="3">
                  <c:v>0.4279190418121717</c:v>
                </c:pt>
                <c:pt idx="4">
                  <c:v>0.24118560212982318</c:v>
                </c:pt>
                <c:pt idx="5">
                  <c:v>0.02924373517641475</c:v>
                </c:pt>
                <c:pt idx="6">
                  <c:v>0.178404941643320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7657733607831384</c:v>
                </c:pt>
                <c:pt idx="5">
                  <c:v>0.00813770097625779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9044861310621091</c:v>
                </c:pt>
                <c:pt idx="1">
                  <c:v>0.032311526189170936</c:v>
                </c:pt>
                <c:pt idx="2">
                  <c:v>0.006869211005558524</c:v>
                </c:pt>
                <c:pt idx="3">
                  <c:v>0.46365745761636096</c:v>
                </c:pt>
                <c:pt idx="4">
                  <c:v>0.22138887704198426</c:v>
                </c:pt>
                <c:pt idx="5">
                  <c:v>0.01571487316116536</c:v>
                </c:pt>
                <c:pt idx="6">
                  <c:v>0.169609441879549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2</c:v>
                </c:pt>
                <c:pt idx="1">
                  <c:v>0.06983355347252945</c:v>
                </c:pt>
                <c:pt idx="2">
                  <c:v>0.016376470044223303</c:v>
                </c:pt>
                <c:pt idx="3">
                  <c:v>0.31902660341686145</c:v>
                </c:pt>
                <c:pt idx="4">
                  <c:v>0.3389449232189925</c:v>
                </c:pt>
                <c:pt idx="5">
                  <c:v>0.03479636360013413</c:v>
                </c:pt>
                <c:pt idx="6">
                  <c:v>0.161366343032767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1445887049676318</c:v>
                </c:pt>
                <c:pt idx="5">
                  <c:v>0.00222848221670788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22911896255625</c:v>
                </c:pt>
                <c:pt idx="1">
                  <c:v>0.07626907480042845</c:v>
                </c:pt>
                <c:pt idx="2">
                  <c:v>0.007349549300869373</c:v>
                </c:pt>
                <c:pt idx="3">
                  <c:v>0.4724437321218864</c:v>
                </c:pt>
                <c:pt idx="4">
                  <c:v>0.0665313881103903</c:v>
                </c:pt>
                <c:pt idx="5">
                  <c:v>0.015152051012852654</c:v>
                </c:pt>
                <c:pt idx="6">
                  <c:v>0.13934230839794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916724061854028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5775588772528332</c:v>
                </c:pt>
                <c:pt idx="4">
                  <c:v>0.06737168280577122</c:v>
                </c:pt>
                <c:pt idx="5">
                  <c:v>0.0017201227303588037</c:v>
                </c:pt>
                <c:pt idx="6">
                  <c:v>0.0368717104515123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4033548930492743</c:v>
                </c:pt>
                <c:pt idx="3">
                  <c:v>0.1675586836088393</c:v>
                </c:pt>
                <c:pt idx="4">
                  <c:v>0.08303099418800744</c:v>
                </c:pt>
                <c:pt idx="5">
                  <c:v>0.09460913930707035</c:v>
                </c:pt>
                <c:pt idx="6">
                  <c:v>0.65076763396559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959099895835080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3905432487862183</c:v>
                </c:pt>
                <c:pt idx="1">
                  <c:v>0.012128541643948871</c:v>
                </c:pt>
                <c:pt idx="2">
                  <c:v>0.0023479955188701737</c:v>
                </c:pt>
                <c:pt idx="3">
                  <c:v>0.4243133457259381</c:v>
                </c:pt>
                <c:pt idx="4">
                  <c:v>0.3469752856084496</c:v>
                </c:pt>
                <c:pt idx="5">
                  <c:v>0.015892492452106218</c:v>
                </c:pt>
                <c:pt idx="6">
                  <c:v>0.184436906562824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22030001535288776</c:v>
                </c:pt>
                <c:pt idx="5">
                  <c:v>0.003087974849904118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36</c:v>
                </c:pt>
                <c:pt idx="4">
                  <c:v>0.18575803512433944</c:v>
                </c:pt>
                <c:pt idx="5">
                  <c:v>0.02352800400703838</c:v>
                </c:pt>
                <c:pt idx="6">
                  <c:v>0.110079271481584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858424793256474</c:v>
                </c:pt>
                <c:pt idx="4">
                  <c:v>0.03772070056055571</c:v>
                </c:pt>
                <c:pt idx="5">
                  <c:v>0.003473856458799219</c:v>
                </c:pt>
                <c:pt idx="6">
                  <c:v>0.01076906958703235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2</c:v>
                </c:pt>
                <c:pt idx="2">
                  <c:v>0.038661870444256057</c:v>
                </c:pt>
                <c:pt idx="3">
                  <c:v>0.26687425042330093</c:v>
                </c:pt>
                <c:pt idx="4">
                  <c:v>0.1620594598151877</c:v>
                </c:pt>
                <c:pt idx="5">
                  <c:v>0.020166137495994756</c:v>
                </c:pt>
                <c:pt idx="6">
                  <c:v>0.097334769908009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734580255341675</c:v>
                </c:pt>
                <c:pt idx="4">
                  <c:v>0.03233119712919869</c:v>
                </c:pt>
                <c:pt idx="5">
                  <c:v>0.003239895095203426</c:v>
                </c:pt>
                <c:pt idx="6">
                  <c:v>0.01164222545296135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4</c:v>
                </c:pt>
                <c:pt idx="3">
                  <c:v>0.21189801082888213</c:v>
                </c:pt>
                <c:pt idx="4">
                  <c:v>0.0348912720561147</c:v>
                </c:pt>
                <c:pt idx="5">
                  <c:v>0.014775448871255988</c:v>
                </c:pt>
                <c:pt idx="6">
                  <c:v>0.0439110282318079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2678797279063525</c:v>
                </c:pt>
                <c:pt idx="4">
                  <c:v>0.001986195840889458</c:v>
                </c:pt>
                <c:pt idx="5">
                  <c:v>0.0006944339020801837</c:v>
                </c:pt>
                <c:pt idx="6">
                  <c:v>0.01236606403075573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407711693623543</c:v>
                </c:pt>
                <c:pt idx="2">
                  <c:v>0.0008493697688871372</c:v>
                </c:pt>
                <c:pt idx="3">
                  <c:v>0.17522840497178355</c:v>
                </c:pt>
                <c:pt idx="4">
                  <c:v>0.11866978005458789</c:v>
                </c:pt>
                <c:pt idx="5">
                  <c:v>0.16003965190514902</c:v>
                </c:pt>
                <c:pt idx="6">
                  <c:v>0.533805081605968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722007466574753</c:v>
                </c:pt>
                <c:pt idx="4">
                  <c:v>0.010451376111653789</c:v>
                </c:pt>
                <c:pt idx="5">
                  <c:v>0.056827098905864515</c:v>
                </c:pt>
                <c:pt idx="6">
                  <c:v>0.00828317986525132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5965574321449162</c:v>
                </c:pt>
                <c:pt idx="1">
                  <c:v>0.06983355347252945</c:v>
                </c:pt>
                <c:pt idx="2">
                  <c:v>0.016376470044223303</c:v>
                </c:pt>
                <c:pt idx="3">
                  <c:v>0.31902660341686145</c:v>
                </c:pt>
                <c:pt idx="4">
                  <c:v>0.3389449232189925</c:v>
                </c:pt>
                <c:pt idx="5">
                  <c:v>0.03479636360013413</c:v>
                </c:pt>
                <c:pt idx="6">
                  <c:v>0.161366343032767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260185135961147</c:v>
                </c:pt>
                <c:pt idx="4">
                  <c:v>0.06881615612550147</c:v>
                </c:pt>
                <c:pt idx="5">
                  <c:v>0.008971849334285228</c:v>
                </c:pt>
                <c:pt idx="6">
                  <c:v>0.01074683520909877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0221387220980727</c:v>
                </c:pt>
                <c:pt idx="1">
                  <c:v>0.2107930072873183</c:v>
                </c:pt>
                <c:pt idx="2">
                  <c:v>0.044159218259920335</c:v>
                </c:pt>
                <c:pt idx="3">
                  <c:v>0.22346859162999136</c:v>
                </c:pt>
                <c:pt idx="4">
                  <c:v>0.18575803512433944</c:v>
                </c:pt>
                <c:pt idx="5">
                  <c:v>0.02352800400703838</c:v>
                </c:pt>
                <c:pt idx="6">
                  <c:v>0.110079271481584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5457411727770247</c:v>
                </c:pt>
                <c:pt idx="5">
                  <c:v>0.001642624318752148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2</c:v>
                </c:pt>
                <c:pt idx="2">
                  <c:v>0.038661870444256057</c:v>
                </c:pt>
                <c:pt idx="3">
                  <c:v>0.26687425042330093</c:v>
                </c:pt>
                <c:pt idx="4">
                  <c:v>0.1620594598151877</c:v>
                </c:pt>
                <c:pt idx="5">
                  <c:v>0.020166137495994756</c:v>
                </c:pt>
                <c:pt idx="6">
                  <c:v>0.097334769908009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1784548162098888</c:v>
                </c:pt>
                <c:pt idx="1">
                  <c:v>0.19705803029226202</c:v>
                </c:pt>
                <c:pt idx="2">
                  <c:v>0.038661870444256057</c:v>
                </c:pt>
                <c:pt idx="3">
                  <c:v>0.26687425042330093</c:v>
                </c:pt>
                <c:pt idx="4">
                  <c:v>0.1620594598151877</c:v>
                </c:pt>
                <c:pt idx="5">
                  <c:v>0.020166137495994756</c:v>
                </c:pt>
                <c:pt idx="6">
                  <c:v>0.097334769908009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29890489262960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3671058404049687</c:v>
                </c:pt>
                <c:pt idx="1">
                  <c:v>0.26294885105212656</c:v>
                </c:pt>
                <c:pt idx="2">
                  <c:v>0.064469548554844</c:v>
                </c:pt>
                <c:pt idx="3">
                  <c:v>0.21189801082888213</c:v>
                </c:pt>
                <c:pt idx="4">
                  <c:v>0.0348912720561147</c:v>
                </c:pt>
                <c:pt idx="5">
                  <c:v>0.014775448871255988</c:v>
                </c:pt>
                <c:pt idx="6">
                  <c:v>0.0439110282318079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7.xml"/><Relationship Id="rId7" Type="http://schemas.openxmlformats.org/officeDocument/2006/relationships/chart" Target="../charts/chart298.xml"/><Relationship Id="rId8" Type="http://schemas.openxmlformats.org/officeDocument/2006/relationships/chart" Target="../charts/chart299.xml"/><Relationship Id="rId9" Type="http://schemas.openxmlformats.org/officeDocument/2006/relationships/chart" Target="../charts/chart300.xml"/><Relationship Id="rId10" Type="http://schemas.openxmlformats.org/officeDocument/2006/relationships/chart" Target="../charts/chart301.xml"/><Relationship Id="rId11" Type="http://schemas.openxmlformats.org/officeDocument/2006/relationships/chart" Target="../charts/chart302.xml"/><Relationship Id="rId12" Type="http://schemas.openxmlformats.org/officeDocument/2006/relationships/chart" Target="../charts/chart303.xml"/><Relationship Id="rId13" Type="http://schemas.openxmlformats.org/officeDocument/2006/relationships/chart" Target="../charts/chart304.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5.xml"/><Relationship Id="rId7" Type="http://schemas.openxmlformats.org/officeDocument/2006/relationships/chart" Target="../charts/chart306.xml"/><Relationship Id="rId8" Type="http://schemas.openxmlformats.org/officeDocument/2006/relationships/chart" Target="../charts/chart307.xml"/><Relationship Id="rId9" Type="http://schemas.openxmlformats.org/officeDocument/2006/relationships/chart" Target="../charts/chart308.xml"/><Relationship Id="rId10" Type="http://schemas.openxmlformats.org/officeDocument/2006/relationships/chart" Target="../charts/chart309.xml"/><Relationship Id="rId11" Type="http://schemas.openxmlformats.org/officeDocument/2006/relationships/chart" Target="../charts/chart310.xml"/><Relationship Id="rId12" Type="http://schemas.openxmlformats.org/officeDocument/2006/relationships/chart" Target="../charts/chart311.xml"/><Relationship Id="rId13" Type="http://schemas.openxmlformats.org/officeDocument/2006/relationships/chart" Target="../charts/chart312.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1.xml"/><Relationship Id="rId7" Type="http://schemas.openxmlformats.org/officeDocument/2006/relationships/chart" Target="../charts/chart322.xml"/><Relationship Id="rId8" Type="http://schemas.openxmlformats.org/officeDocument/2006/relationships/chart" Target="../charts/chart323.xml"/><Relationship Id="rId9" Type="http://schemas.openxmlformats.org/officeDocument/2006/relationships/chart" Target="../charts/chart324.xml"/><Relationship Id="rId10" Type="http://schemas.openxmlformats.org/officeDocument/2006/relationships/chart" Target="../charts/chart325.xml"/><Relationship Id="rId11" Type="http://schemas.openxmlformats.org/officeDocument/2006/relationships/chart" Target="../charts/chart326.xml"/><Relationship Id="rId12" Type="http://schemas.openxmlformats.org/officeDocument/2006/relationships/chart" Target="../charts/chart327.xml"/><Relationship Id="rId13" Type="http://schemas.openxmlformats.org/officeDocument/2006/relationships/chart" Target="../charts/chart328.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9.xml"/><Relationship Id="rId7" Type="http://schemas.openxmlformats.org/officeDocument/2006/relationships/chart" Target="../charts/chart330.xml"/><Relationship Id="rId8" Type="http://schemas.openxmlformats.org/officeDocument/2006/relationships/chart" Target="../charts/chart331.xml"/><Relationship Id="rId9" Type="http://schemas.openxmlformats.org/officeDocument/2006/relationships/chart" Target="../charts/chart332.xml"/><Relationship Id="rId10" Type="http://schemas.openxmlformats.org/officeDocument/2006/relationships/chart" Target="../charts/chart333.xml"/><Relationship Id="rId11" Type="http://schemas.openxmlformats.org/officeDocument/2006/relationships/chart" Target="../charts/chart334.xml"/><Relationship Id="rId12" Type="http://schemas.openxmlformats.org/officeDocument/2006/relationships/chart" Target="../charts/chart335.xml"/><Relationship Id="rId13" Type="http://schemas.openxmlformats.org/officeDocument/2006/relationships/chart" Target="../charts/chart336.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5.xml"/><Relationship Id="rId7" Type="http://schemas.openxmlformats.org/officeDocument/2006/relationships/chart" Target="../charts/chart346.xml"/><Relationship Id="rId8" Type="http://schemas.openxmlformats.org/officeDocument/2006/relationships/chart" Target="../charts/chart347.xml"/><Relationship Id="rId9" Type="http://schemas.openxmlformats.org/officeDocument/2006/relationships/chart" Target="../charts/chart348.xml"/><Relationship Id="rId10" Type="http://schemas.openxmlformats.org/officeDocument/2006/relationships/chart" Target="../charts/chart349.xml"/><Relationship Id="rId11" Type="http://schemas.openxmlformats.org/officeDocument/2006/relationships/chart" Target="../charts/chart350.xml"/><Relationship Id="rId12" Type="http://schemas.openxmlformats.org/officeDocument/2006/relationships/chart" Target="../charts/chart351.xml"/><Relationship Id="rId13" Type="http://schemas.openxmlformats.org/officeDocument/2006/relationships/chart" Target="../charts/chart352.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3.xml"/><Relationship Id="rId7" Type="http://schemas.openxmlformats.org/officeDocument/2006/relationships/chart" Target="../charts/chart354.xml"/><Relationship Id="rId8" Type="http://schemas.openxmlformats.org/officeDocument/2006/relationships/chart" Target="../charts/chart355.xml"/><Relationship Id="rId9" Type="http://schemas.openxmlformats.org/officeDocument/2006/relationships/chart" Target="../charts/chart356.xml"/><Relationship Id="rId10" Type="http://schemas.openxmlformats.org/officeDocument/2006/relationships/chart" Target="../charts/chart357.xml"/><Relationship Id="rId11" Type="http://schemas.openxmlformats.org/officeDocument/2006/relationships/chart" Target="../charts/chart358.xml"/><Relationship Id="rId12" Type="http://schemas.openxmlformats.org/officeDocument/2006/relationships/chart" Target="../charts/chart359.xml"/><Relationship Id="rId13" Type="http://schemas.openxmlformats.org/officeDocument/2006/relationships/chart" Target="../charts/chart360.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73584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446770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412107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490145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565708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3661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449610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082396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925426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369784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610891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854168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239306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680421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02366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234637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761336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968794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610026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628608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777776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791276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110758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276433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648650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615323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647208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539060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654911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772105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571831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556255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120559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540395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909193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4472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781220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899143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359990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065881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041584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088901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576762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66920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11364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TotalTime>
  <Words>4455</Words>
  <Application>Microsoft Office PowerPoint</Application>
  <PresentationFormat>On-screen Show (16:9)</PresentationFormat>
  <Paragraphs>1575</Paragraphs>
  <Slides>45</Slides>
  <Notes>4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6"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64</cp:revision>
  <dcterms:created xsi:type="dcterms:W3CDTF">2024-07-05T11:30:58Z</dcterms:created>
  <dcterms:modified xsi:type="dcterms:W3CDTF">2025-07-08T09:14: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